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CAB736-BE95-46EA-BA6E-1505F845A7A2}" v="49" dt="2023-03-11T22:15:1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32" y="750"/>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12CAB736-BE95-46EA-BA6E-1505F845A7A2}"/>
    <pc:docChg chg="modSld">
      <pc:chgData name="Roberto Gallardo" userId="49a044883f185952" providerId="LiveId" clId="{12CAB736-BE95-46EA-BA6E-1505F845A7A2}" dt="2023-03-11T22:15:41.174" v="322" actId="1035"/>
      <pc:docMkLst>
        <pc:docMk/>
      </pc:docMkLst>
      <pc:sldChg chg="addSp modSp mod">
        <pc:chgData name="Roberto Gallardo" userId="49a044883f185952" providerId="LiveId" clId="{12CAB736-BE95-46EA-BA6E-1505F845A7A2}" dt="2023-03-11T22:09:19.482" v="6" actId="1076"/>
        <pc:sldMkLst>
          <pc:docMk/>
          <pc:sldMk cId="1418533539" sldId="271"/>
        </pc:sldMkLst>
        <pc:picChg chg="add mod">
          <ac:chgData name="Roberto Gallardo" userId="49a044883f185952" providerId="LiveId" clId="{12CAB736-BE95-46EA-BA6E-1505F845A7A2}" dt="2023-03-11T22:09:19.482" v="6" actId="1076"/>
          <ac:picMkLst>
            <pc:docMk/>
            <pc:sldMk cId="1418533539" sldId="271"/>
            <ac:picMk id="6" creationId="{C81261DC-A04A-BCD5-B9B8-2C4E52B3D240}"/>
          </ac:picMkLst>
        </pc:picChg>
      </pc:sldChg>
      <pc:sldChg chg="addSp modSp mod">
        <pc:chgData name="Roberto Gallardo" userId="49a044883f185952" providerId="LiveId" clId="{12CAB736-BE95-46EA-BA6E-1505F845A7A2}" dt="2023-03-11T22:11:14.935" v="70" actId="1076"/>
        <pc:sldMkLst>
          <pc:docMk/>
          <pc:sldMk cId="2124848710" sldId="281"/>
        </pc:sldMkLst>
        <pc:picChg chg="add mod">
          <ac:chgData name="Roberto Gallardo" userId="49a044883f185952" providerId="LiveId" clId="{12CAB736-BE95-46EA-BA6E-1505F845A7A2}" dt="2023-03-11T22:11:14.935" v="70" actId="1076"/>
          <ac:picMkLst>
            <pc:docMk/>
            <pc:sldMk cId="2124848710" sldId="281"/>
            <ac:picMk id="6" creationId="{D1BB81AA-9720-E511-BD60-75D9818EC5AD}"/>
          </ac:picMkLst>
        </pc:picChg>
      </pc:sldChg>
      <pc:sldChg chg="addSp modSp mod">
        <pc:chgData name="Roberto Gallardo" userId="49a044883f185952" providerId="LiveId" clId="{12CAB736-BE95-46EA-BA6E-1505F845A7A2}" dt="2023-03-11T22:11:37.703" v="87" actId="1076"/>
        <pc:sldMkLst>
          <pc:docMk/>
          <pc:sldMk cId="2028175529" sldId="282"/>
        </pc:sldMkLst>
        <pc:picChg chg="add mod">
          <ac:chgData name="Roberto Gallardo" userId="49a044883f185952" providerId="LiveId" clId="{12CAB736-BE95-46EA-BA6E-1505F845A7A2}" dt="2023-03-11T22:11:37.703" v="87" actId="1076"/>
          <ac:picMkLst>
            <pc:docMk/>
            <pc:sldMk cId="2028175529" sldId="282"/>
            <ac:picMk id="7" creationId="{79452F96-C700-A4AE-64AA-A8F31A0D0780}"/>
          </ac:picMkLst>
        </pc:picChg>
      </pc:sldChg>
      <pc:sldChg chg="addSp modSp mod">
        <pc:chgData name="Roberto Gallardo" userId="49a044883f185952" providerId="LiveId" clId="{12CAB736-BE95-46EA-BA6E-1505F845A7A2}" dt="2023-03-11T22:11:50.390" v="96" actId="1076"/>
        <pc:sldMkLst>
          <pc:docMk/>
          <pc:sldMk cId="1326517747" sldId="283"/>
        </pc:sldMkLst>
        <pc:picChg chg="add mod">
          <ac:chgData name="Roberto Gallardo" userId="49a044883f185952" providerId="LiveId" clId="{12CAB736-BE95-46EA-BA6E-1505F845A7A2}" dt="2023-03-11T22:11:50.390" v="96" actId="1076"/>
          <ac:picMkLst>
            <pc:docMk/>
            <pc:sldMk cId="1326517747" sldId="283"/>
            <ac:picMk id="7" creationId="{BACBE5C9-9DB9-51D1-35F0-F62E09229F93}"/>
          </ac:picMkLst>
        </pc:picChg>
      </pc:sldChg>
      <pc:sldChg chg="addSp modSp mod">
        <pc:chgData name="Roberto Gallardo" userId="49a044883f185952" providerId="LiveId" clId="{12CAB736-BE95-46EA-BA6E-1505F845A7A2}" dt="2023-03-11T22:12:05.050" v="106" actId="1076"/>
        <pc:sldMkLst>
          <pc:docMk/>
          <pc:sldMk cId="783739251" sldId="284"/>
        </pc:sldMkLst>
        <pc:picChg chg="add mod">
          <ac:chgData name="Roberto Gallardo" userId="49a044883f185952" providerId="LiveId" clId="{12CAB736-BE95-46EA-BA6E-1505F845A7A2}" dt="2023-03-11T22:12:05.050" v="106" actId="1076"/>
          <ac:picMkLst>
            <pc:docMk/>
            <pc:sldMk cId="783739251" sldId="284"/>
            <ac:picMk id="7" creationId="{CD2786FD-0C35-FC33-7AAB-E9CCA266F51D}"/>
          </ac:picMkLst>
        </pc:picChg>
      </pc:sldChg>
      <pc:sldChg chg="addSp modSp mod">
        <pc:chgData name="Roberto Gallardo" userId="49a044883f185952" providerId="LiveId" clId="{12CAB736-BE95-46EA-BA6E-1505F845A7A2}" dt="2023-03-11T22:12:23.147" v="118" actId="1076"/>
        <pc:sldMkLst>
          <pc:docMk/>
          <pc:sldMk cId="1676122233" sldId="285"/>
        </pc:sldMkLst>
        <pc:picChg chg="add mod">
          <ac:chgData name="Roberto Gallardo" userId="49a044883f185952" providerId="LiveId" clId="{12CAB736-BE95-46EA-BA6E-1505F845A7A2}" dt="2023-03-11T22:12:23.147" v="118" actId="1076"/>
          <ac:picMkLst>
            <pc:docMk/>
            <pc:sldMk cId="1676122233" sldId="285"/>
            <ac:picMk id="7" creationId="{CA08C738-89BD-6EC8-091F-E9531CB7352F}"/>
          </ac:picMkLst>
        </pc:picChg>
      </pc:sldChg>
      <pc:sldChg chg="addSp modSp mod">
        <pc:chgData name="Roberto Gallardo" userId="49a044883f185952" providerId="LiveId" clId="{12CAB736-BE95-46EA-BA6E-1505F845A7A2}" dt="2023-03-11T22:13:08.794" v="134" actId="1035"/>
        <pc:sldMkLst>
          <pc:docMk/>
          <pc:sldMk cId="3100398757" sldId="286"/>
        </pc:sldMkLst>
        <pc:picChg chg="add mod">
          <ac:chgData name="Roberto Gallardo" userId="49a044883f185952" providerId="LiveId" clId="{12CAB736-BE95-46EA-BA6E-1505F845A7A2}" dt="2023-03-11T22:13:08.794" v="134" actId="1035"/>
          <ac:picMkLst>
            <pc:docMk/>
            <pc:sldMk cId="3100398757" sldId="286"/>
            <ac:picMk id="7" creationId="{FB4DC98D-3768-0BC6-48CF-3176C2C26800}"/>
          </ac:picMkLst>
        </pc:picChg>
      </pc:sldChg>
      <pc:sldChg chg="addSp modSp mod">
        <pc:chgData name="Roberto Gallardo" userId="49a044883f185952" providerId="LiveId" clId="{12CAB736-BE95-46EA-BA6E-1505F845A7A2}" dt="2023-03-11T22:13:28.086" v="155" actId="1036"/>
        <pc:sldMkLst>
          <pc:docMk/>
          <pc:sldMk cId="1546475425" sldId="287"/>
        </pc:sldMkLst>
        <pc:picChg chg="add mod">
          <ac:chgData name="Roberto Gallardo" userId="49a044883f185952" providerId="LiveId" clId="{12CAB736-BE95-46EA-BA6E-1505F845A7A2}" dt="2023-03-11T22:13:28.086" v="155" actId="1036"/>
          <ac:picMkLst>
            <pc:docMk/>
            <pc:sldMk cId="1546475425" sldId="287"/>
            <ac:picMk id="7" creationId="{BF9D9BF9-C6AF-E69E-C01E-743C7281B011}"/>
          </ac:picMkLst>
        </pc:picChg>
      </pc:sldChg>
      <pc:sldChg chg="addSp modSp mod">
        <pc:chgData name="Roberto Gallardo" userId="49a044883f185952" providerId="LiveId" clId="{12CAB736-BE95-46EA-BA6E-1505F845A7A2}" dt="2023-03-11T22:14:11.487" v="207" actId="1035"/>
        <pc:sldMkLst>
          <pc:docMk/>
          <pc:sldMk cId="1380517306" sldId="288"/>
        </pc:sldMkLst>
        <pc:picChg chg="add mod">
          <ac:chgData name="Roberto Gallardo" userId="49a044883f185952" providerId="LiveId" clId="{12CAB736-BE95-46EA-BA6E-1505F845A7A2}" dt="2023-03-11T22:14:11.487" v="207" actId="1035"/>
          <ac:picMkLst>
            <pc:docMk/>
            <pc:sldMk cId="1380517306" sldId="288"/>
            <ac:picMk id="7" creationId="{C8D3D07B-FDEB-7159-66A9-5E308479C0C0}"/>
          </ac:picMkLst>
        </pc:picChg>
      </pc:sldChg>
      <pc:sldChg chg="addSp modSp mod">
        <pc:chgData name="Roberto Gallardo" userId="49a044883f185952" providerId="LiveId" clId="{12CAB736-BE95-46EA-BA6E-1505F845A7A2}" dt="2023-03-11T22:14:36.268" v="237" actId="1035"/>
        <pc:sldMkLst>
          <pc:docMk/>
          <pc:sldMk cId="1388671151" sldId="289"/>
        </pc:sldMkLst>
        <pc:picChg chg="add mod">
          <ac:chgData name="Roberto Gallardo" userId="49a044883f185952" providerId="LiveId" clId="{12CAB736-BE95-46EA-BA6E-1505F845A7A2}" dt="2023-03-11T22:14:36.268" v="237" actId="1035"/>
          <ac:picMkLst>
            <pc:docMk/>
            <pc:sldMk cId="1388671151" sldId="289"/>
            <ac:picMk id="7" creationId="{97E4C52A-3922-20C7-267B-311643B68BE5}"/>
          </ac:picMkLst>
        </pc:picChg>
      </pc:sldChg>
      <pc:sldChg chg="addSp modSp mod">
        <pc:chgData name="Roberto Gallardo" userId="49a044883f185952" providerId="LiveId" clId="{12CAB736-BE95-46EA-BA6E-1505F845A7A2}" dt="2023-03-11T22:15:11.654" v="282" actId="1036"/>
        <pc:sldMkLst>
          <pc:docMk/>
          <pc:sldMk cId="2355376039" sldId="290"/>
        </pc:sldMkLst>
        <pc:picChg chg="add mod">
          <ac:chgData name="Roberto Gallardo" userId="49a044883f185952" providerId="LiveId" clId="{12CAB736-BE95-46EA-BA6E-1505F845A7A2}" dt="2023-03-11T22:15:11.654" v="282" actId="1036"/>
          <ac:picMkLst>
            <pc:docMk/>
            <pc:sldMk cId="2355376039" sldId="290"/>
            <ac:picMk id="8" creationId="{8481B74C-ADE8-ACC7-C4D5-DB6F6E2BAD23}"/>
          </ac:picMkLst>
        </pc:picChg>
      </pc:sldChg>
      <pc:sldChg chg="addSp modSp mod">
        <pc:chgData name="Roberto Gallardo" userId="49a044883f185952" providerId="LiveId" clId="{12CAB736-BE95-46EA-BA6E-1505F845A7A2}" dt="2023-03-11T22:15:41.174" v="322" actId="1035"/>
        <pc:sldMkLst>
          <pc:docMk/>
          <pc:sldMk cId="3757257295" sldId="291"/>
        </pc:sldMkLst>
        <pc:picChg chg="add mod">
          <ac:chgData name="Roberto Gallardo" userId="49a044883f185952" providerId="LiveId" clId="{12CAB736-BE95-46EA-BA6E-1505F845A7A2}" dt="2023-03-11T22:15:41.174" v="322" actId="1035"/>
          <ac:picMkLst>
            <pc:docMk/>
            <pc:sldMk cId="3757257295" sldId="291"/>
            <ac:picMk id="8" creationId="{797C0F7B-4164-3D8C-F421-5E3709EB5E7F}"/>
          </ac:picMkLst>
        </pc:picChg>
      </pc:sldChg>
      <pc:sldChg chg="addSp modSp mod">
        <pc:chgData name="Roberto Gallardo" userId="49a044883f185952" providerId="LiveId" clId="{12CAB736-BE95-46EA-BA6E-1505F845A7A2}" dt="2023-03-11T22:13:47.006" v="177" actId="1035"/>
        <pc:sldMkLst>
          <pc:docMk/>
          <pc:sldMk cId="1259856727" sldId="292"/>
        </pc:sldMkLst>
        <pc:picChg chg="add mod">
          <ac:chgData name="Roberto Gallardo" userId="49a044883f185952" providerId="LiveId" clId="{12CAB736-BE95-46EA-BA6E-1505F845A7A2}" dt="2023-03-11T22:13:47.006" v="177" actId="1035"/>
          <ac:picMkLst>
            <pc:docMk/>
            <pc:sldMk cId="1259856727" sldId="292"/>
            <ac:picMk id="7" creationId="{C53BEA17-7192-0AD7-4DEC-1A7BB85A4BBE}"/>
          </ac:picMkLst>
        </pc:picChg>
      </pc:sldChg>
      <pc:sldChg chg="addSp modSp mod">
        <pc:chgData name="Roberto Gallardo" userId="49a044883f185952" providerId="LiveId" clId="{12CAB736-BE95-46EA-BA6E-1505F845A7A2}" dt="2023-03-11T22:10:58.983" v="61" actId="1076"/>
        <pc:sldMkLst>
          <pc:docMk/>
          <pc:sldMk cId="3324519687" sldId="293"/>
        </pc:sldMkLst>
        <pc:picChg chg="add mod">
          <ac:chgData name="Roberto Gallardo" userId="49a044883f185952" providerId="LiveId" clId="{12CAB736-BE95-46EA-BA6E-1505F845A7A2}" dt="2023-03-11T22:10:58.983" v="61" actId="1076"/>
          <ac:picMkLst>
            <pc:docMk/>
            <pc:sldMk cId="3324519687" sldId="293"/>
            <ac:picMk id="7" creationId="{B8488226-8C66-3973-F089-D6243E73B1B5}"/>
          </ac:picMkLst>
        </pc:picChg>
      </pc:sldChg>
      <pc:sldChg chg="addSp modSp mod">
        <pc:chgData name="Roberto Gallardo" userId="49a044883f185952" providerId="LiveId" clId="{12CAB736-BE95-46EA-BA6E-1505F845A7A2}" dt="2023-03-11T22:10:24.214" v="40" actId="1076"/>
        <pc:sldMkLst>
          <pc:docMk/>
          <pc:sldMk cId="3256182630" sldId="295"/>
        </pc:sldMkLst>
        <pc:picChg chg="add mod">
          <ac:chgData name="Roberto Gallardo" userId="49a044883f185952" providerId="LiveId" clId="{12CAB736-BE95-46EA-BA6E-1505F845A7A2}" dt="2023-03-11T22:10:24.214" v="40" actId="1076"/>
          <ac:picMkLst>
            <pc:docMk/>
            <pc:sldMk cId="3256182630" sldId="295"/>
            <ac:picMk id="7" creationId="{7416D9B5-B273-1B3C-0718-32FC5C05C526}"/>
          </ac:picMkLst>
        </pc:picChg>
      </pc:sldChg>
      <pc:sldChg chg="addSp modSp mod">
        <pc:chgData name="Roberto Gallardo" userId="49a044883f185952" providerId="LiveId" clId="{12CAB736-BE95-46EA-BA6E-1505F845A7A2}" dt="2023-03-11T22:10:45.534" v="53" actId="1076"/>
        <pc:sldMkLst>
          <pc:docMk/>
          <pc:sldMk cId="4057156843" sldId="296"/>
        </pc:sldMkLst>
        <pc:picChg chg="add mod">
          <ac:chgData name="Roberto Gallardo" userId="49a044883f185952" providerId="LiveId" clId="{12CAB736-BE95-46EA-BA6E-1505F845A7A2}" dt="2023-03-11T22:10:45.534" v="53" actId="1076"/>
          <ac:picMkLst>
            <pc:docMk/>
            <pc:sldMk cId="4057156843" sldId="296"/>
            <ac:picMk id="7" creationId="{1CB77510-7B98-8692-6D73-F0074A39EB50}"/>
          </ac:picMkLst>
        </pc:picChg>
      </pc:sldChg>
      <pc:sldChg chg="addSp modSp mod">
        <pc:chgData name="Roberto Gallardo" userId="49a044883f185952" providerId="LiveId" clId="{12CAB736-BE95-46EA-BA6E-1505F845A7A2}" dt="2023-03-11T22:10:03.947" v="31" actId="1076"/>
        <pc:sldMkLst>
          <pc:docMk/>
          <pc:sldMk cId="2080110827" sldId="297"/>
        </pc:sldMkLst>
        <pc:picChg chg="add mod">
          <ac:chgData name="Roberto Gallardo" userId="49a044883f185952" providerId="LiveId" clId="{12CAB736-BE95-46EA-BA6E-1505F845A7A2}" dt="2023-03-11T22:10:03.947" v="31" actId="1076"/>
          <ac:picMkLst>
            <pc:docMk/>
            <pc:sldMk cId="2080110827" sldId="297"/>
            <ac:picMk id="6" creationId="{9778B433-B27A-E8F3-F5A4-10368581CAA9}"/>
          </ac:picMkLst>
        </pc:picChg>
      </pc:sldChg>
      <pc:sldChg chg="addSp modSp mod">
        <pc:chgData name="Roberto Gallardo" userId="49a044883f185952" providerId="LiveId" clId="{12CAB736-BE95-46EA-BA6E-1505F845A7A2}" dt="2023-03-11T22:09:37.331" v="15" actId="1076"/>
        <pc:sldMkLst>
          <pc:docMk/>
          <pc:sldMk cId="1532666867" sldId="298"/>
        </pc:sldMkLst>
        <pc:picChg chg="add mod">
          <ac:chgData name="Roberto Gallardo" userId="49a044883f185952" providerId="LiveId" clId="{12CAB736-BE95-46EA-BA6E-1505F845A7A2}" dt="2023-03-11T22:09:37.331" v="15" actId="1076"/>
          <ac:picMkLst>
            <pc:docMk/>
            <pc:sldMk cId="1532666867" sldId="298"/>
            <ac:picMk id="6" creationId="{8CA539C8-DF63-F0D1-5D01-09638E6BC252}"/>
          </ac:picMkLst>
        </pc:picChg>
      </pc:sldChg>
      <pc:sldChg chg="addSp modSp mod">
        <pc:chgData name="Roberto Gallardo" userId="49a044883f185952" providerId="LiveId" clId="{12CAB736-BE95-46EA-BA6E-1505F845A7A2}" dt="2023-03-11T22:14:54.654" v="258" actId="1035"/>
        <pc:sldMkLst>
          <pc:docMk/>
          <pc:sldMk cId="1951376777" sldId="299"/>
        </pc:sldMkLst>
        <pc:picChg chg="add mod">
          <ac:chgData name="Roberto Gallardo" userId="49a044883f185952" providerId="LiveId" clId="{12CAB736-BE95-46EA-BA6E-1505F845A7A2}" dt="2023-03-11T22:14:54.654" v="258" actId="1035"/>
          <ac:picMkLst>
            <pc:docMk/>
            <pc:sldMk cId="1951376777" sldId="299"/>
            <ac:picMk id="7" creationId="{37A5C260-521F-8C45-CDFC-CBB400BE9CB2}"/>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Martin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C65DDD2-53B9-8CD1-207F-EAFE030A005F}"/>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6D3B4DF2-C7C8-666E-8448-3F4747964C96}"/>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C81261DC-A04A-BCD5-B9B8-2C4E52B3D2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8CA539C8-DF63-F0D1-5D01-09638E6BC25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9778B433-B27A-E8F3-F5A4-10368581CA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2101" y="1028700"/>
            <a:ext cx="7611597" cy="5382595"/>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C45E9AE2-43B2-DA39-488E-4B11F4D80FB1}"/>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7416D9B5-B273-1B3C-0718-32FC5C05C5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6523"/>
            <a:ext cx="6400800" cy="4526372"/>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CB2E748F-A03E-8623-6ADB-1281CC7EFF35}"/>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1CB77510-7B98-8692-6D73-F0074A39EB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6097"/>
            <a:ext cx="6400800"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80ADFAF2-ACE7-CDA0-01C4-AE117F03E430}"/>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B8488226-8C66-3973-F089-D6243E73B1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94C776A-A32E-40EF-BA5E-F3CD7DD7B9DD}"/>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D1BB81AA-9720-E511-BD60-75D9818EC5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2"/>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2A4B955-C778-5723-85E2-89D41CD80069}"/>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79452F96-C700-A4AE-64AA-A8F31A0D07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02034"/>
            <a:ext cx="6400801" cy="452637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FCE96FA-EF4E-1D1D-9C8B-F48F6F314747}"/>
              </a:ext>
            </a:extLst>
          </p:cNvPr>
          <p:cNvPicPr/>
          <p:nvPr/>
        </p:nvPicPr>
        <p:blipFill>
          <a:blip r:embed="rId2"/>
          <a:stretch>
            <a:fillRect/>
          </a:stretch>
        </p:blipFill>
        <p:spPr>
          <a:xfrm>
            <a:off x="152400" y="1779904"/>
            <a:ext cx="5309500" cy="3807823"/>
          </a:xfrm>
          <a:prstGeom prst="rect">
            <a:avLst/>
          </a:prstGeom>
        </p:spPr>
      </p:pic>
      <p:pic>
        <p:nvPicPr>
          <p:cNvPr id="7" name="Picture 6" descr="Diagram, map&#10;&#10;Description automatically generated">
            <a:extLst>
              <a:ext uri="{FF2B5EF4-FFF2-40B4-BE49-F238E27FC236}">
                <a16:creationId xmlns:a16="http://schemas.microsoft.com/office/drawing/2014/main" id="{BACBE5C9-9DB9-51D1-35F0-F62E09229F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860611C-5DCC-80A9-6DC9-133E2179411B}"/>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CD2786FD-0C35-FC33-7AAB-E9CCA266F5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6A53359-035C-B625-7062-082FB0ADCEF8}"/>
              </a:ext>
            </a:extLst>
          </p:cNvPr>
          <p:cNvPicPr/>
          <p:nvPr/>
        </p:nvPicPr>
        <p:blipFill>
          <a:blip r:embed="rId2"/>
          <a:stretch>
            <a:fillRect/>
          </a:stretch>
        </p:blipFill>
        <p:spPr>
          <a:xfrm>
            <a:off x="159053" y="1774372"/>
            <a:ext cx="5289247" cy="3790406"/>
          </a:xfrm>
          <a:prstGeom prst="rect">
            <a:avLst/>
          </a:prstGeom>
        </p:spPr>
      </p:pic>
      <p:pic>
        <p:nvPicPr>
          <p:cNvPr id="7" name="Picture 6" descr="Diagram, map&#10;&#10;Description automatically generated">
            <a:extLst>
              <a:ext uri="{FF2B5EF4-FFF2-40B4-BE49-F238E27FC236}">
                <a16:creationId xmlns:a16="http://schemas.microsoft.com/office/drawing/2014/main" id="{CA08C738-89BD-6EC8-091F-E9531CB735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7692"/>
            <a:ext cx="6397116" cy="4523766"/>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C3B4CA4-F601-73C2-2AD0-3A155FCFF367}"/>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FB4DC98D-3768-0BC6-48CF-3176C2C268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5938"/>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64B0D7A-9F4C-73E5-C41E-9B4BB7A17A59}"/>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BF9D9BF9-C6AF-E69E-C01E-743C7281B0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2389"/>
            <a:ext cx="6405823" cy="4529924"/>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496D9E0-51B2-C4A4-1ED5-355C907F2831}"/>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C53BEA17-7192-0AD7-4DEC-1A7BB85A4B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579"/>
            <a:ext cx="6400801" cy="4526373"/>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E011FA8-6E3E-69F3-04A5-B75AFD43C99A}"/>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C8D3D07B-FDEB-7159-66A9-5E308479C0C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3766"/>
            <a:ext cx="6400801"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67817A2-16EE-0A98-62CE-7C827E5CF937}"/>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97E4C52A-3922-20C7-267B-311643B68B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580"/>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7817E421-22C4-5513-F999-38738F2363CE}"/>
              </a:ext>
            </a:extLst>
          </p:cNvPr>
          <p:cNvPicPr/>
          <p:nvPr/>
        </p:nvPicPr>
        <p:blipFill>
          <a:blip r:embed="rId2"/>
          <a:stretch>
            <a:fillRect/>
          </a:stretch>
        </p:blipFill>
        <p:spPr>
          <a:xfrm>
            <a:off x="152400" y="1783082"/>
            <a:ext cx="5295900" cy="3787531"/>
          </a:xfrm>
          <a:prstGeom prst="rect">
            <a:avLst/>
          </a:prstGeom>
        </p:spPr>
      </p:pic>
      <p:pic>
        <p:nvPicPr>
          <p:cNvPr id="7" name="Picture 6" descr="Diagram, map&#10;&#10;Description automatically generated">
            <a:extLst>
              <a:ext uri="{FF2B5EF4-FFF2-40B4-BE49-F238E27FC236}">
                <a16:creationId xmlns:a16="http://schemas.microsoft.com/office/drawing/2014/main" id="{37A5C260-521F-8C45-CDFC-CBB400BE9C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0289"/>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FCFDA8A5-CD39-57A0-1B5D-A38E0A60B416}"/>
              </a:ext>
            </a:extLst>
          </p:cNvPr>
          <p:cNvPicPr/>
          <p:nvPr/>
        </p:nvPicPr>
        <p:blipFill>
          <a:blip r:embed="rId2"/>
          <a:stretch>
            <a:fillRect/>
          </a:stretch>
        </p:blipFill>
        <p:spPr>
          <a:xfrm>
            <a:off x="156412" y="1783318"/>
            <a:ext cx="5291888" cy="3790406"/>
          </a:xfrm>
          <a:prstGeom prst="rect">
            <a:avLst/>
          </a:prstGeom>
        </p:spPr>
      </p:pic>
      <p:pic>
        <p:nvPicPr>
          <p:cNvPr id="8" name="Picture 7" descr="Diagram, map&#10;&#10;Description automatically generated">
            <a:extLst>
              <a:ext uri="{FF2B5EF4-FFF2-40B4-BE49-F238E27FC236}">
                <a16:creationId xmlns:a16="http://schemas.microsoft.com/office/drawing/2014/main" id="{8481B74C-ADE8-ACC7-C4D5-DB6F6E2BAD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6600"/>
            <a:ext cx="6396788" cy="4523535"/>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68FA260A-7C10-DF85-AEE0-8D8BE95AFEE9}"/>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E10A0E4F-912F-D15C-30CA-10672C1D7C1C}"/>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797C0F7B-4164-3D8C-F421-5E3709EB5E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0291"/>
            <a:ext cx="6400800"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426FADDB-E4A1-C140-DF12-FE180A89B79F}"/>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F2BA4AD-F5BF-BD7E-D3CB-6B162AA7BAEC}"/>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407D7CE-E9A2-BEA1-584A-546C460A2C9D}"/>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36350"/>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82371" y="2624887"/>
            <a:ext cx="1198148" cy="2320110"/>
            <a:chOff x="10485745" y="2570201"/>
            <a:chExt cx="1198148" cy="2320110"/>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30592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2</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57020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570201"/>
              <a:ext cx="0" cy="73572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198473"/>
              <a:ext cx="0" cy="69183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125854"/>
            <a:ext cx="1198148" cy="2471044"/>
            <a:chOff x="2775759" y="2073763"/>
            <a:chExt cx="1198148" cy="2471044"/>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87690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07376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073763"/>
              <a:ext cx="0" cy="803145"/>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69460"/>
              <a:ext cx="0" cy="7753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99F919D2-B3DB-86B1-8E90-6CE4D9281B60}"/>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215CC8BB-DEE6-2204-2C5C-624C101CC8E8}"/>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33E9BFE-472B-A7B7-297B-52F4AA3B16BD}"/>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5B627B66-CCE5-52D5-2F71-15F815745977}"/>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D4CE19C-7351-82B7-3D47-EFB4B0636D43}"/>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F93E06B-BFEF-4D55-4D5B-ED8EC4E055D2}"/>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2E51A5A6-FF86-E41B-A5D1-2446104EC32F}"/>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A6CB6790-A94A-71DD-6B29-3D7315BC139F}"/>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06</TotalTime>
  <Words>1463</Words>
  <Application>Microsoft Office PowerPoint</Application>
  <PresentationFormat>Widescreen</PresentationFormat>
  <Paragraphs>136</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50</cp:revision>
  <dcterms:created xsi:type="dcterms:W3CDTF">2022-07-04T13:32:28Z</dcterms:created>
  <dcterms:modified xsi:type="dcterms:W3CDTF">2023-03-11T22:15:47Z</dcterms:modified>
</cp:coreProperties>
</file>